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7" r:id="rId6"/>
    <p:sldId id="256" r:id="rId7"/>
    <p:sldId id="273" r:id="rId8"/>
    <p:sldId id="258" r:id="rId9"/>
    <p:sldId id="259" r:id="rId10"/>
    <p:sldId id="260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61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46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14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4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
Andre nivå
Tredje nivå
Fjerde nivå
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3/14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59806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
Andre nivå
Tredje nivå
Fjerde nivå
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DB8D29B-1EDD-41EB-9DBE-413C62E696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53B3E9-74E9-4C72-B60D-A5262BCBE72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41E0D0-4735-4CFB-8C36-EA496B27AA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BD0F9C-ACB7-47AE-BB1D-6FB26C3B4C5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n-NO" dirty="0"/>
              <a:t>Psykologisk institutt</a:t>
            </a:r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36338-1B80-4DA3-8BCC-991801D23A8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dirty="0"/>
              <a:t>Bjørn Lau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D9CBF0-66E0-4BAD-89FA-2661278D7B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Instituttle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24856A6-6074-4241-8F55-81353CB8C50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/>
              <a:t>Psykologisk institutt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AA5AD48-3ABE-4925-B1F0-207F8D0DBB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.Mars 2024</a:t>
            </a:r>
          </a:p>
        </p:txBody>
      </p:sp>
    </p:spTree>
    <p:extLst>
      <p:ext uri="{BB962C8B-B14F-4D97-AF65-F5344CB8AC3E}">
        <p14:creationId xmlns:p14="http://schemas.microsoft.com/office/powerpoint/2010/main" val="3980220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84" y="188946"/>
            <a:ext cx="10515600" cy="1325563"/>
          </a:xfrm>
        </p:spPr>
        <p:txBody>
          <a:bodyPr/>
          <a:lstStyle/>
          <a:p>
            <a:r>
              <a:rPr dirty="0" err="1"/>
              <a:t>Presentasjon</a:t>
            </a:r>
            <a:r>
              <a:rPr dirty="0"/>
              <a:t> </a:t>
            </a:r>
            <a:r>
              <a:rPr dirty="0" err="1"/>
              <a:t>av</a:t>
            </a:r>
            <a:r>
              <a:rPr dirty="0"/>
              <a:t> </a:t>
            </a:r>
            <a:r>
              <a:rPr dirty="0" err="1"/>
              <a:t>Psykologisk</a:t>
            </a:r>
            <a:r>
              <a:rPr dirty="0"/>
              <a:t> </a:t>
            </a:r>
            <a:r>
              <a:rPr dirty="0" err="1"/>
              <a:t>institutt</a:t>
            </a:r>
            <a:r>
              <a:rPr dirty="0"/>
              <a:t> (PSI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30" y="1711312"/>
            <a:ext cx="6881300" cy="4351338"/>
          </a:xfrm>
        </p:spPr>
        <p:txBody>
          <a:bodyPr>
            <a:normAutofit fontScale="77500" lnSpcReduction="2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Studieprogrammer</a:t>
            </a:r>
            <a:endParaRPr lang="nb-NO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Årsenhet i 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Bachelor i 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 err="1"/>
              <a:t>Honours</a:t>
            </a:r>
            <a:r>
              <a:rPr lang="nb-NO" dirty="0"/>
              <a:t>-programmet (bachelor)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Tre masterretninger i 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Profesjonsstudiet i 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Internasjonal master (Global </a:t>
            </a:r>
            <a:r>
              <a:rPr lang="nb-NO" dirty="0" err="1"/>
              <a:t>Minds</a:t>
            </a:r>
            <a:r>
              <a:rPr lang="nb-NO" dirty="0"/>
              <a:t>)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Fagenheter</a:t>
            </a:r>
            <a:endParaRPr lang="nb-NO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Fagavdeling for helse-, utviklings- og personlighets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Fagavdeling for klinisk 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Fagavdeling for kognitiv og nevro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Fagavdeling for metode, arbeids-, kultur- og sosialpsykologi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PROMENTA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Senter for livsløpsendringer i hjerne og kognisjon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RITMO (</a:t>
            </a:r>
            <a:r>
              <a:rPr lang="nb-NO" dirty="0" err="1"/>
              <a:t>center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excellence</a:t>
            </a:r>
            <a:r>
              <a:rPr lang="nb-NO" dirty="0"/>
              <a:t>)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Klinikken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Administrasjonen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E804D5D-9276-A144-AD7F-DB05AD4178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161" y="667626"/>
            <a:ext cx="5274496" cy="2918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12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529" y="230042"/>
            <a:ext cx="10515600" cy="1325563"/>
          </a:xfrm>
        </p:spPr>
        <p:txBody>
          <a:bodyPr/>
          <a:lstStyle/>
          <a:p>
            <a:pPr algn="ctr"/>
            <a:r>
              <a:rPr dirty="0" err="1"/>
              <a:t>Mulige</a:t>
            </a:r>
            <a:r>
              <a:rPr dirty="0"/>
              <a:t> </a:t>
            </a:r>
            <a:r>
              <a:rPr dirty="0" err="1"/>
              <a:t>utfordringer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30" y="1711312"/>
            <a:ext cx="6110738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Utdanning</a:t>
            </a:r>
            <a:endParaRPr lang="nb-NO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Nye finansieringskategorier (master, bachelor, profesjon)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 err="1"/>
              <a:t>Drop-out</a:t>
            </a:r>
            <a:r>
              <a:rPr lang="nb-NO" dirty="0"/>
              <a:t> og gjennomføring i programmene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Overskudd i timeregnskapene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Arbeidslivsrelevans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Forskning</a:t>
            </a:r>
            <a:endParaRPr lang="nb-NO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Underfinansierte eksterne forskningsprosjekter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Insentivmidler i fremtidig finansieringsmodell (ERC, </a:t>
            </a:r>
            <a:r>
              <a:rPr lang="nb-NO" sz="2200" dirty="0" err="1"/>
              <a:t>etc</a:t>
            </a:r>
            <a:r>
              <a:rPr lang="nb-NO" sz="2200" dirty="0"/>
              <a:t>)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Kostbar infrastruktur som trenger fornyelse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Investeringer i ny infrastruktur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Inkorporering av kunstig intelligens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2200" dirty="0"/>
              <a:t>Lokaler til et økende antall ansatte i rekrutteringsstillinger.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AB34E36F-5342-BE48-A475-D387D19314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8534" y="892823"/>
            <a:ext cx="5760979" cy="3166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672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84" y="385749"/>
            <a:ext cx="10515600" cy="1325563"/>
          </a:xfrm>
        </p:spPr>
        <p:txBody>
          <a:bodyPr/>
          <a:lstStyle/>
          <a:p>
            <a:pPr algn="ctr"/>
            <a:r>
              <a:rPr dirty="0" err="1"/>
              <a:t>Strategier</a:t>
            </a:r>
            <a:r>
              <a:rPr dirty="0"/>
              <a:t> </a:t>
            </a:r>
            <a:r>
              <a:rPr dirty="0" err="1"/>
              <a:t>og</a:t>
            </a:r>
            <a:r>
              <a:rPr dirty="0"/>
              <a:t> plan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29" y="1711312"/>
            <a:ext cx="8895035" cy="4351338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Basert på balansert målstyr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Oppdrag: Hva er vårt oppdrag?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Verdier: Hvilke verdier baserer vi oss på?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Visjon: Hvilken visjon har vi for fremtiden?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Våre strategier bør inneholde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Interne prosesser: Hvilke interne prosesser må gjennomføres?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Samarbeidspartnere: Viktige aktører for å nå målene.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Læring og utvikling: Nødvendig for å nå målene.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Finansiering: Behov for bedre budsjettstyring.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C6F0744-4DCD-D246-AB27-40008CFF0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9079" y="981321"/>
            <a:ext cx="5524341" cy="290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685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432" y="385749"/>
            <a:ext cx="10515600" cy="816327"/>
          </a:xfrm>
        </p:spPr>
        <p:txBody>
          <a:bodyPr/>
          <a:lstStyle/>
          <a:p>
            <a:pPr algn="ctr"/>
            <a:r>
              <a:rPr dirty="0" err="1"/>
              <a:t>Hvilke</a:t>
            </a:r>
            <a:r>
              <a:rPr dirty="0"/>
              <a:t> </a:t>
            </a:r>
            <a:r>
              <a:rPr dirty="0" err="1"/>
              <a:t>satsninger</a:t>
            </a:r>
            <a:r>
              <a:rPr dirty="0"/>
              <a:t> </a:t>
            </a:r>
            <a:r>
              <a:rPr dirty="0" err="1"/>
              <a:t>har</a:t>
            </a:r>
            <a:r>
              <a:rPr dirty="0"/>
              <a:t> vi for </a:t>
            </a:r>
            <a:r>
              <a:rPr dirty="0" err="1"/>
              <a:t>fremtiden</a:t>
            </a:r>
            <a:r>
              <a:rPr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9367" y="2327762"/>
            <a:ext cx="6244302" cy="3703169"/>
          </a:xfrm>
        </p:spPr>
        <p:txBody>
          <a:bodyPr/>
          <a:lstStyle/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Desentralisert utdanning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Etter- og videreutdanning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Lavere </a:t>
            </a:r>
            <a:r>
              <a:rPr lang="nb-NO" dirty="0" err="1"/>
              <a:t>drop-out</a:t>
            </a:r>
            <a:r>
              <a:rPr lang="nb-NO" dirty="0"/>
              <a:t> og bedre gjennomføring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Mindre overskudd i timeregnskapene / bygge ned timeregnskapene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Evaluere emneporteføljen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Sikre bærekraftig ekstern finansiering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/>
              <a:t>Utvikle sterkere og bedre infrastruktur for ekstern finansiering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dirty="0" err="1"/>
              <a:t>Etc</a:t>
            </a:r>
            <a:endParaRPr lang="nb-NO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FBBE861B-2E65-194F-9103-D88BAADDCF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1191" y="1319158"/>
            <a:ext cx="5184052" cy="2328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695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609" y="343058"/>
            <a:ext cx="10515600" cy="715181"/>
          </a:xfrm>
        </p:spPr>
        <p:txBody>
          <a:bodyPr/>
          <a:lstStyle/>
          <a:p>
            <a:pPr algn="ctr"/>
            <a:r>
              <a:rPr dirty="0" err="1"/>
              <a:t>Forskning</a:t>
            </a:r>
            <a:r>
              <a:rPr lang="nb-NO" dirty="0"/>
              <a:t>s</a:t>
            </a:r>
            <a:r>
              <a:rPr dirty="0" err="1"/>
              <a:t>strategi</a:t>
            </a:r>
            <a:r>
              <a:rPr dirty="0"/>
              <a:t> 2024-202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529" y="1711312"/>
            <a:ext cx="5648401" cy="4351338"/>
          </a:xfrm>
        </p:spPr>
        <p:txBody>
          <a:bodyPr>
            <a:normAutofit fontScale="70000" lnSpcReduction="2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Finansielt perspektiv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Sikre tidlig planlegging og forberedelse av søknad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Fremme interne og eksterne finansieringsmulighet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Strategisk allokering av driftsmidler og forskningsinfrastruktur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Aktørperspektivet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Styrke samarbeid med </a:t>
            </a:r>
            <a:r>
              <a:rPr lang="nb-NO" dirty="0" err="1"/>
              <a:t>finansiører</a:t>
            </a:r>
            <a:r>
              <a:rPr lang="nb-NO" dirty="0"/>
              <a:t> og akademiske institusjon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Samarbeid med myndigheter og samfunnet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Interne prosess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Organisasjonsstruktur og samarbeidskultu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Rekruttering og karriereutvikling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Kvalitetssikring, transparens, og etikk</a:t>
            </a:r>
          </a:p>
          <a:p>
            <a:pPr marL="0" indent="0">
              <a:spcBef>
                <a:spcPts val="0"/>
              </a:spcBef>
              <a:buNone/>
            </a:pPr>
            <a:endParaRPr lang="nb-NO" dirty="0"/>
          </a:p>
          <a:p>
            <a:pPr marL="0" indent="0">
              <a:spcBef>
                <a:spcPts val="0"/>
              </a:spcBef>
              <a:buNone/>
            </a:pPr>
            <a:r>
              <a:rPr lang="nb-NO" b="1" dirty="0"/>
              <a:t>Læring og vekst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Økonomisk støtte for fagkompetanse og karriereutviklingsprogrammer</a:t>
            </a:r>
          </a:p>
          <a:p>
            <a:pPr marL="0" indent="0">
              <a:spcBef>
                <a:spcPts val="0"/>
              </a:spcBef>
              <a:buNone/>
            </a:pPr>
            <a:r>
              <a:rPr lang="nb-NO" dirty="0"/>
              <a:t>• Insentiver for mangfold og inkludering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20B464B3-4E03-7643-89CD-DD5902D57E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0930" y="2358346"/>
            <a:ext cx="5360969" cy="258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86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al_ISV_bm" id="{115A3B70-414E-41C9-981C-467521F20C87}" vid="{A0270407-DB7D-42D0-AFB4-F4773268E4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22</TotalTime>
  <Words>341</Words>
  <Application>Microsoft Macintosh PowerPoint</Application>
  <PresentationFormat>Widescreen</PresentationFormat>
  <Paragraphs>77</Paragraphs>
  <Slides>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2" baseType="lpstr">
      <vt:lpstr>Arial</vt:lpstr>
      <vt:lpstr>Arial, sans-serif</vt:lpstr>
      <vt:lpstr>Calibri</vt:lpstr>
      <vt:lpstr>Wingdings</vt:lpstr>
      <vt:lpstr>Office-tema</vt:lpstr>
      <vt:lpstr>think-cell Slide</vt:lpstr>
      <vt:lpstr>PowerPoint-presentasjon</vt:lpstr>
      <vt:lpstr>Presentasjon av Psykologisk institutt (PSI)</vt:lpstr>
      <vt:lpstr>Mulige utfordringer</vt:lpstr>
      <vt:lpstr>Strategier og planer</vt:lpstr>
      <vt:lpstr>Hvilke satsninger har vi for fremtiden?</vt:lpstr>
      <vt:lpstr>Forskningsstrategi 2024-2027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Bjørn Lau</dc:creator>
  <cp:lastModifiedBy>Bjørn Lau</cp:lastModifiedBy>
  <cp:revision>11</cp:revision>
  <dcterms:created xsi:type="dcterms:W3CDTF">2024-03-14T11:42:57Z</dcterms:created>
  <dcterms:modified xsi:type="dcterms:W3CDTF">2024-03-14T12:0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